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4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2147375892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893" r:id="rId12"/>
    <p:sldId id="2147375891" r:id="rId13"/>
    <p:sldId id="2147375739" r:id="rId14"/>
    <p:sldId id="2147375890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893"/>
            <p14:sldId id="2147375891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94"/>
    <p:restoredTop sz="94696"/>
  </p:normalViewPr>
  <p:slideViewPr>
    <p:cSldViewPr snapToGrid="0" showGuides="1">
      <p:cViewPr varScale="1">
        <p:scale>
          <a:sx n="49" d="100"/>
          <a:sy n="49" d="100"/>
        </p:scale>
        <p:origin x="184" y="20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2/18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2. 1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2. 1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2. 1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98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99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91" Type="http://schemas.openxmlformats.org/officeDocument/2006/relationships/image" Target="../media/image15.emf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tags" Target="../tags/tag191.xml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182" Type="http://schemas.openxmlformats.org/officeDocument/2006/relationships/tags" Target="../tags/tag192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5" Type="http://schemas.openxmlformats.org/officeDocument/2006/relationships/tags" Target="../tags/tag75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51" Type="http://schemas.openxmlformats.org/officeDocument/2006/relationships/tags" Target="../tags/tag161.xml"/><Relationship Id="rId172" Type="http://schemas.openxmlformats.org/officeDocument/2006/relationships/tags" Target="../tags/tag182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188" Type="http://schemas.openxmlformats.org/officeDocument/2006/relationships/slideLayout" Target="../slideLayouts/slideLayout3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162" Type="http://schemas.openxmlformats.org/officeDocument/2006/relationships/tags" Target="../tags/tag172.xml"/><Relationship Id="rId183" Type="http://schemas.openxmlformats.org/officeDocument/2006/relationships/tags" Target="../tags/tag193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tags" Target="../tags/tag188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184" Type="http://schemas.openxmlformats.org/officeDocument/2006/relationships/tags" Target="../tags/tag194.xml"/><Relationship Id="rId189" Type="http://schemas.openxmlformats.org/officeDocument/2006/relationships/notesSlide" Target="../notesSlides/notesSlide4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tags" Target="../tags/tag189.xml"/><Relationship Id="rId190" Type="http://schemas.openxmlformats.org/officeDocument/2006/relationships/oleObject" Target="../embeddings/oleObject10.bin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185" Type="http://schemas.openxmlformats.org/officeDocument/2006/relationships/tags" Target="../tags/tag19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tags" Target="../tags/tag190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186" Type="http://schemas.openxmlformats.org/officeDocument/2006/relationships/tags" Target="../tags/tag196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87" Type="http://schemas.openxmlformats.org/officeDocument/2006/relationships/tags" Target="../tags/tag197.xml"/><Relationship Id="rId1" Type="http://schemas.openxmlformats.org/officeDocument/2006/relationships/tags" Target="../tags/tag11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60" Type="http://schemas.openxmlformats.org/officeDocument/2006/relationships/tags" Target="../tags/tag70.xml"/><Relationship Id="rId81" Type="http://schemas.openxmlformats.org/officeDocument/2006/relationships/tags" Target="../tags/tag91.xml"/><Relationship Id="rId135" Type="http://schemas.openxmlformats.org/officeDocument/2006/relationships/tags" Target="../tags/tag145.xml"/><Relationship Id="rId156" Type="http://schemas.openxmlformats.org/officeDocument/2006/relationships/tags" Target="../tags/tag166.xml"/><Relationship Id="rId177" Type="http://schemas.openxmlformats.org/officeDocument/2006/relationships/tags" Target="../tags/tag1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2002D5-880C-81B4-8884-C0B51084244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661878" y="194244"/>
            <a:ext cx="881260" cy="79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11" name="Rechteck 6">
            <a:extLst>
              <a:ext uri="{FF2B5EF4-FFF2-40B4-BE49-F238E27FC236}">
                <a16:creationId xmlns:a16="http://schemas.microsoft.com/office/drawing/2014/main" id="{80C21CE7-FD18-B54E-4BE8-190C16AC6CCA}"/>
              </a:ext>
            </a:extLst>
          </p:cNvPr>
          <p:cNvSpPr/>
          <p:nvPr/>
        </p:nvSpPr>
        <p:spPr>
          <a:xfrm>
            <a:off x="3310487" y="3713707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Lucia </a:t>
            </a:r>
            <a:r>
              <a:rPr kumimoji="0" lang="de-DE" b="1" i="0" u="none" strike="noStrike" kern="1200" cap="none" spc="0" normalizeH="0" baseline="0" noProof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Ferreiro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 Martinez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Customer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ucces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err="1">
                <a:latin typeface="Open Sauce One" pitchFamily="2" charset="0"/>
              </a:rPr>
              <a:t>lucia.ferreiro.martinez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@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>
                <a:latin typeface="Open Sauce One" pitchFamily="2" charset="0"/>
              </a:rPr>
              <a:t>+49 176 73573508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err="1">
                <a:latin typeface="Open Sauce One" pitchFamily="2" charset="0"/>
              </a:rPr>
              <a:t>uli.erxleben@hypatos.ai</a:t>
            </a:r>
            <a:br>
              <a:rPr lang="de-DE" sz="120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909022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KTM SAP DEV Team onboarding for integration implementation. KTM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KTM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kt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889480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0" imgW="500" imgH="501" progId="TCLayout.ActiveDocument.1">
                  <p:embed/>
                </p:oleObj>
              </mc:Choice>
              <mc:Fallback>
                <p:oleObj name="think-cell Slide" r:id="rId190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April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>
                <a:solidFill>
                  <a:schemeClr val="accent5"/>
                </a:solidFill>
              </a:rPr>
              <a:t>Scope, Deliverables and Timeline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767263" y="1971675"/>
            <a:ext cx="293688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46587" y="1695450"/>
            <a:ext cx="5603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06975" y="1695450"/>
            <a:ext cx="8270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34063" y="1695450"/>
            <a:ext cx="7747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608763" y="1695450"/>
            <a:ext cx="8270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35850" y="1695450"/>
            <a:ext cx="8016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37538" y="1695450"/>
            <a:ext cx="8270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64625" y="1695450"/>
            <a:ext cx="8001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64725" y="1695450"/>
            <a:ext cx="74771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4658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339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196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697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943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800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673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5468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420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277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1507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024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881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754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627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4852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4358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62317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105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962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835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708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5662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7439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9312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11701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304338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9166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789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864725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052050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2393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425113" y="183356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1342688" y="197167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3DDE55-F499-0040-2F17-E155BA37B5F8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5673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63150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65024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66881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68754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67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DB6793-3352-0E97-A680-873E100F7CFC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59420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70627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72485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1061243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74358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6231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78105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46339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79962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444658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48196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81835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50069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04251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02393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00520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98647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96789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261B7CA-915E-DD98-51D5-BACF11369E3E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3800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94916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61277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3043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3708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91170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9312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87439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5566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CFE82EFB-EEAB-60FD-20BF-C3392DA1EADE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57546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673225" y="434340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673225" y="3109913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673225" y="33829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673225" y="46164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673225" y="260985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1673225" y="52546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08793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3006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76755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01A358-DB12-9C9A-C939-8F5B71EB6023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5781675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5194300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9625013" y="197167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673225" y="19716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675562" y="2424113"/>
            <a:ext cx="1949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5781675" y="3470275"/>
            <a:ext cx="9064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5781675" y="3702050"/>
            <a:ext cx="1441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5273675" y="2924175"/>
            <a:ext cx="50800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7223124" y="3930650"/>
            <a:ext cx="452438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BC7E3ED6-68B6-89CB-7F22-FC2F92FE2A68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675562" y="4157663"/>
            <a:ext cx="1949450" cy="7937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781675" y="3197225"/>
            <a:ext cx="933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1FDADBF7-D432-1D5C-D8B9-560DE23A1ACC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9625013" y="4705350"/>
            <a:ext cx="827088" cy="79375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10372725" y="5029200"/>
            <a:ext cx="341313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5033963" y="2019300"/>
            <a:ext cx="568007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740274" y="2697163"/>
            <a:ext cx="104140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033963" y="2424113"/>
            <a:ext cx="7477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B5C6A636-95EC-09BF-FB4A-5B798171CE79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4740274" y="3711575"/>
            <a:ext cx="1041400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6688138" y="3479800"/>
            <a:ext cx="74771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6715125" y="3206750"/>
            <a:ext cx="7207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8370888" y="4410075"/>
            <a:ext cx="2343150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781675" y="2433638"/>
            <a:ext cx="1893888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5594350" y="3479800"/>
            <a:ext cx="1873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4686300" y="2933700"/>
            <a:ext cx="587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7675563" y="4440238"/>
            <a:ext cx="69532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5781675" y="3940175"/>
            <a:ext cx="1441450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 rot="5400000">
            <a:off x="6327775" y="4552950"/>
            <a:ext cx="107950" cy="258762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 rot="10800000">
            <a:off x="6275388" y="59007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9574213" y="53673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6247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B73CB9A3-9D1E-636B-0E93-597ADD504EAF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5730875" y="5367338"/>
            <a:ext cx="101600" cy="1016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2498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5143500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503713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3" name="Diamond 452">
            <a:extLst>
              <a:ext uri="{FF2B5EF4-FFF2-40B4-BE49-F238E27FC236}">
                <a16:creationId xmlns:a16="http://schemas.microsoft.com/office/drawing/2014/main" id="{70B2017C-E2FB-4B40-6023-26FF7CED5203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7385050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2" name="Diamond 451">
            <a:extLst>
              <a:ext uri="{FF2B5EF4-FFF2-40B4-BE49-F238E27FC236}">
                <a16:creationId xmlns:a16="http://schemas.microsoft.com/office/drawing/2014/main" id="{A0E02562-04FB-89FE-2A92-63279614E197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7385050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7624763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16310A4E-88E6-50E8-6D0C-82B08BEE27D3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5676900" y="2047875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9574213" y="41465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4635500" y="24130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5730875" y="2686050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5730875" y="29130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7" name="Diamond 456">
            <a:extLst>
              <a:ext uri="{FF2B5EF4-FFF2-40B4-BE49-F238E27FC236}">
                <a16:creationId xmlns:a16="http://schemas.microsoft.com/office/drawing/2014/main" id="{05C517CB-C6DD-8697-EC32-9DB53740AE8E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637338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5" name="Diamond 454">
            <a:extLst>
              <a:ext uri="{FF2B5EF4-FFF2-40B4-BE49-F238E27FC236}">
                <a16:creationId xmlns:a16="http://schemas.microsoft.com/office/drawing/2014/main" id="{D58FC46E-E216-5DC9-D53A-1624C1690360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6664325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7172325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0238A64-8B1C-3007-4482-A2F5ED2284C3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 flipH="1" flipV="1">
            <a:off x="5781675" y="5491163"/>
            <a:ext cx="465138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FB2D5-F160-54A1-AC94-A7F076D7C4DE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 flipV="1">
            <a:off x="4624387" y="5491163"/>
            <a:ext cx="4635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154B86-B51C-EAA6-D760-E71D4F6A1F61}"/>
              </a:ext>
            </a:extLst>
          </p:cNvPr>
          <p:cNvCxnSpPr>
            <a:cxnSpLocks/>
          </p:cNvCxnSpPr>
          <p:nvPr>
            <p:custDataLst>
              <p:tags r:id="rId134"/>
            </p:custDataLst>
          </p:nvPr>
        </p:nvCxnSpPr>
        <p:spPr bwMode="gray">
          <a:xfrm flipV="1">
            <a:off x="5170488" y="5491163"/>
            <a:ext cx="23813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0C55E0-8831-10EF-4A4A-DF7F0CB3D4BE}"/>
              </a:ext>
            </a:extLst>
          </p:cNvPr>
          <p:cNvCxnSpPr>
            <a:cxnSpLocks/>
          </p:cNvCxnSpPr>
          <p:nvPr>
            <p:custDataLst>
              <p:tags r:id="rId135"/>
            </p:custDataLst>
          </p:nvPr>
        </p:nvCxnSpPr>
        <p:spPr bwMode="gray">
          <a:xfrm flipH="1" flipV="1">
            <a:off x="5300662" y="5491163"/>
            <a:ext cx="382588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1" name="Textplatzhalter 2">
            <a:extLst>
              <a:ext uri="{FF2B5EF4-FFF2-40B4-BE49-F238E27FC236}">
                <a16:creationId xmlns:a16="http://schemas.microsoft.com/office/drawing/2014/main" id="{5348CFDA-B42A-CBCD-DBC9-A7BD1FB320D7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1714500" y="4686300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1 (BUKRS xx – xx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3A156B29-0C75-B27A-C586-5BDABE5DEBEC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0755313" y="4686300"/>
            <a:ext cx="5318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6" name="Textplatzhalter 2">
            <a:extLst>
              <a:ext uri="{FF2B5EF4-FFF2-40B4-BE49-F238E27FC236}">
                <a16:creationId xmlns:a16="http://schemas.microsoft.com/office/drawing/2014/main" id="{A16BF202-D373-9678-96CA-B0CE0E00C583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6429375" y="4043363"/>
            <a:ext cx="1460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IT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0755313" y="3683000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714500" y="5049838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2 (BUKRS xx – xx)</a:t>
            </a:r>
            <a:endParaRPr kumimoji="0" lang="en-US" alt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755313" y="5049838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714499" y="184785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755313" y="183515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1714500" y="3683000"/>
            <a:ext cx="195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755313" y="345122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714500" y="3451225"/>
            <a:ext cx="184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Studio and Insights Configur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4" name="Textplatzhalter 2">
            <a:extLst>
              <a:ext uri="{FF2B5EF4-FFF2-40B4-BE49-F238E27FC236}">
                <a16:creationId xmlns:a16="http://schemas.microsoft.com/office/drawing/2014/main" id="{E973F21C-A07D-50CA-328F-962E3DA27CFC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8959850" y="4527550"/>
            <a:ext cx="10588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Customer Care Support</a:t>
            </a:r>
          </a:p>
        </p:txBody>
      </p:sp>
      <p:sp useBgFill="1">
        <p:nvSpPr>
          <p:cNvPr id="480" name="Textplatzhalter 2">
            <a:extLst>
              <a:ext uri="{FF2B5EF4-FFF2-40B4-BE49-F238E27FC236}">
                <a16:creationId xmlns:a16="http://schemas.microsoft.com/office/drawing/2014/main" id="{B8C8F5EE-F877-267E-C6B8-51670D755585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7218363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3" name="Textplatzhalter 2">
            <a:extLst>
              <a:ext uri="{FF2B5EF4-FFF2-40B4-BE49-F238E27FC236}">
                <a16:creationId xmlns:a16="http://schemas.microsoft.com/office/drawing/2014/main" id="{F81A1286-CC5A-E38D-86A2-EDEC7A9B1B77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7767638" y="3916363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8" name="Textplatzhalter 2">
            <a:extLst>
              <a:ext uri="{FF2B5EF4-FFF2-40B4-BE49-F238E27FC236}">
                <a16:creationId xmlns:a16="http://schemas.microsoft.com/office/drawing/2014/main" id="{94A4AC85-7800-132F-260D-C798BF7A73CD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6470650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10755313" y="317817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714500" y="3178175"/>
            <a:ext cx="1958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and optimization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714501" y="3911600"/>
            <a:ext cx="143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Testing Phase (SIT &amp; UAT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3" name="Textplatzhalter 2">
            <a:extLst>
              <a:ext uri="{FF2B5EF4-FFF2-40B4-BE49-F238E27FC236}">
                <a16:creationId xmlns:a16="http://schemas.microsoft.com/office/drawing/2014/main" id="{CF0D7B9A-A1AD-A9DF-EBE1-E5ABD875DB83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7218363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1714501" y="4411663"/>
            <a:ext cx="1960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Continuous Improv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92" name="Textplatzhalter 2">
            <a:extLst>
              <a:ext uri="{FF2B5EF4-FFF2-40B4-BE49-F238E27FC236}">
                <a16:creationId xmlns:a16="http://schemas.microsoft.com/office/drawing/2014/main" id="{2C2FD833-D1AB-E264-83D6-12ACDF6ACED3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6497638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0755313" y="2905125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1714500" y="2905125"/>
            <a:ext cx="2249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</a:rPr>
              <a:t>Assessment &amp; Design of New AP Process</a:t>
            </a:r>
            <a:endParaRPr lang="en-US" sz="100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7786688" y="4527550"/>
            <a:ext cx="4730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percare</a:t>
            </a: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5873750" y="2909888"/>
            <a:ext cx="10874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ech Solution confirmed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E6F38D21-21B2-B8D8-9D38-EB31CE61796B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755313" y="2678113"/>
            <a:ext cx="249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B027F2A5-3B99-12CB-895A-B4AD1B00B8D0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714500" y="2678113"/>
            <a:ext cx="2690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roviding of training data (images + posting data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CD6E93C4-2953-5A6C-626B-FDFBC5B218DE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10755313" y="4138613"/>
            <a:ext cx="249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KTM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5873750" y="2682875"/>
            <a:ext cx="106362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ed</a:t>
            </a: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755313" y="2405063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TM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1714500" y="2405063"/>
            <a:ext cx="1550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 &amp;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6C3356F4-3D90-2849-952E-35DB32A8F15E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714500" y="4138613"/>
            <a:ext cx="1806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Pilot Phase in Productive System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4270375" y="235426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20</a:t>
            </a: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8367713" y="2520950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6137275" y="2520950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5022850" y="2520950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10755313" y="2039938"/>
            <a:ext cx="5318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KTM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714500" y="2039938"/>
            <a:ext cx="1165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Management</a:t>
            </a: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9717088" y="4087813"/>
            <a:ext cx="4349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Roll-ou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9" name="Textplatzhalter 2">
            <a:extLst>
              <a:ext uri="{FF2B5EF4-FFF2-40B4-BE49-F238E27FC236}">
                <a16:creationId xmlns:a16="http://schemas.microsoft.com/office/drawing/2014/main" id="{7635D071-8A20-A23C-3567-6C335FC1B0A1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5419725" y="2171700"/>
            <a:ext cx="6159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bg1">
                    <a:lumMod val="50000"/>
                  </a:schemeClr>
                </a:solidFill>
                <a:effectLst/>
              </a:rPr>
              <a:t>SOW Sign Off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9329738" y="552767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7373938" y="552767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7416800" y="4043363"/>
            <a:ext cx="20478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5448300" y="552767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6932613" y="4043363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4933950" y="552767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10755313" y="4411663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KMT &amp; HY</a:t>
            </a: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4357688" y="552767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F17D2B-2246-6EDD-07F4-36FEF60EA253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5959475" y="5527675"/>
            <a:ext cx="5762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hlink"/>
                </a:solidFill>
              </a:rPr>
              <a:t>Today </a:t>
            </a:r>
            <a:fld id="{21E623AB-B511-453E-AF67-668615123963}" type="datetime'30''.0''''''''''''''''''''''''1''''''''''.'''''''''''">
              <a:rPr lang="en-US" altLang="en-US" sz="800" smtClean="0">
                <a:solidFill>
                  <a:schemeClr val="hlink"/>
                </a:solidFill>
              </a:rPr>
              <a:pPr/>
              <a:t>30.01.</a:t>
            </a:fld>
            <a:endParaRPr lang="en-GB" sz="800" dirty="0">
              <a:solidFill>
                <a:schemeClr val="hlin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5587999" y="6026150"/>
            <a:ext cx="15890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2-3 months)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4230688" y="184785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10755313" y="3911600"/>
            <a:ext cx="531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KTM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C596D9B2-EEAF-0B04-8F36-EB6CD34FA23C}"/>
              </a:ext>
            </a:extLst>
          </p:cNvPr>
          <p:cNvSpPr/>
          <p:nvPr/>
        </p:nvSpPr>
        <p:spPr>
          <a:xfrm rot="2746554">
            <a:off x="1443356" y="5731152"/>
            <a:ext cx="82778" cy="82778"/>
          </a:xfrm>
          <a:prstGeom prst="rect">
            <a:avLst/>
          </a:prstGeom>
          <a:solidFill>
            <a:srgbClr val="71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D12A9B87-0D62-4221-A613-C648F8960F16}"/>
              </a:ext>
            </a:extLst>
          </p:cNvPr>
          <p:cNvSpPr txBox="1"/>
          <p:nvPr/>
        </p:nvSpPr>
        <p:spPr>
          <a:xfrm>
            <a:off x="1499247" y="566481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Deliverabl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791" y="4386736"/>
            <a:ext cx="1140617" cy="8883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7988" y="3129454"/>
            <a:ext cx="1086642" cy="29954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07792" y="3428999"/>
            <a:ext cx="1086642" cy="93980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 &amp; Valid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3" y="2633663"/>
            <a:ext cx="985838" cy="4889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07988" y="1971675"/>
            <a:ext cx="1002505" cy="66198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</a:t>
            </a:r>
          </a:p>
        </p:txBody>
      </p:sp>
    </p:spTree>
    <p:extLst>
      <p:ext uri="{BB962C8B-B14F-4D97-AF65-F5344CB8AC3E}">
        <p14:creationId xmlns:p14="http://schemas.microsoft.com/office/powerpoint/2010/main" val="286711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fGvLblWkiSZdvsw_ri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Q3D2FhcV4cnim2cOIb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3DSqJKcOHZvv4dmw2w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A2R848ABrs_4P0nuDPd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a5hMkk4GWheSbM7qWO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nGiNqEnbxc2YrRrg7b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rRb.n6lXC1YK2g3JTkc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PCWaHYrYBkMWwWXzk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Ms6TMf.CoshO8JII7H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X.FrY1gJIh.8fgRfV_O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Rs8EZt9JVSbJ3fNC2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tvwFEwXDcttCPuIj8g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u1UFWesM6pa.50FxKB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mQok_RrimcK_dK6C0V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l0fH9C7PrdqUXWVkPR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gvhMNSNntcRhMiBsr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je.rmtViY9RRA3lBq5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nEb2rJJi.TuYGKllPP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rSc5nT9VESRQ7ofIQ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swkti9hzWbrHwN8GJ1k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G3qroo1Rdx7jO0OH839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a7vl.tDX0EcRqsVIBZ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xgVQ7o6c0ntzjG0qnX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t2bjmc5GsVQloxYVJhq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s6i20Kh63O._p7khDE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a9BCKfj_LoUWwHyXxz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G9ubx3xsueBDxg07C8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gdfswR7yTjxnmw48hm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2cDXesYQvOqvtB6.Ad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WPFM6gwspi5_sov2D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MMaKgotWrqhVO3Prf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uWa.uin.Z3mVxhd4yW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TtuKeIR0Umr7kn8101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8</TotalTime>
  <Words>765</Words>
  <Application>Microsoft Macintosh PowerPoint</Application>
  <PresentationFormat>Widescreen</PresentationFormat>
  <Paragraphs>255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April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0</cp:revision>
  <dcterms:created xsi:type="dcterms:W3CDTF">2023-03-02T14:07:47Z</dcterms:created>
  <dcterms:modified xsi:type="dcterms:W3CDTF">2024-02-18T17:0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